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1"/>
  </p:sldMasterIdLst>
  <p:sldIdLst>
    <p:sldId id="2147375798" r:id="rId12"/>
    <p:sldId id="2147375801" r:id="rId13"/>
    <p:sldId id="2147375799" r:id="rId14"/>
    <p:sldId id="214737580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10" Type="http://schemas.openxmlformats.org/officeDocument/2006/relationships/customXml" Target="../customXml/item10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9E406-A97B-4A06-A651-37B0E180BE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EC2D1A-D350-4A67-B857-EDAED9BCE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830FA-E37F-49F9-92DF-84C3E4F12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C0526F-CCBD-47BA-9101-2FD3D6E1F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0A21A-63D9-41CC-A0FA-32DD7B430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14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79D1D-478D-467F-BDEE-619120D14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85FB2-1918-4FDF-A99C-266CA399E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CD4E3-455A-4821-8859-B357B5FB3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CC1D7-AE63-4733-BD48-7807BFDF4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9B973-A640-4806-8441-C5D5A301B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85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433997-AACD-44C6-8CAA-9EF4254FD4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EDB13B-7F89-4EEF-BA3C-772FA6A31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524B4-E629-41D7-B57E-BDD0613AD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B40DE-FE6D-4E9A-A097-C35FEDC16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320DA3-1E13-40E0-82CA-9333116EA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796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389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47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B73A4-D188-4E85-A952-8AADBFB11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98BAA4-0513-4653-8E95-839C78BDB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83B08-69C9-450D-91B8-B81D9149E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9526-4C35-4BC3-8DFF-B396DE2D2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EFF6-EF20-4ACD-A4F3-1A81B8B4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0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5FE8C-A6D6-4D61-93F8-2C1279CD1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8CF28-4B02-4D7D-A352-9599D18D3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5AC1F-EF53-4E12-90AB-5BE6F84D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2BAFBE-7F19-4613-8E68-8E8410CE1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D4F3F-2A82-4D74-A19E-68054AC08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804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E16E7-7480-449D-90F7-066F87653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F6FCAA-8AEA-40AC-B0E8-CE4ED598A4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0087EE-905C-423D-8924-EBD707D0A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DCBCC-24E8-4440-A5E8-49D8FEE83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969428-7DC8-46DD-8591-23723F134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99E566-3CC4-4FFF-B654-D812D0FC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85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B430E-8B4B-4128-A90F-D7EB9B4D0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498AD-0EE7-4FAA-9BC1-D31C5C66A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90C12-4DAC-4223-92A6-93921259B4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3D57CF-D3F3-423C-9A03-FCADF73CF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43F69C-3C5C-4D74-A331-CA034AB488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98269E-04FB-44D6-BB89-D7FF364C7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162B22-1B08-43E2-B8F2-0AC6A88B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BC2E39-C48E-4D4D-9781-7DF289A88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4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7BBF6-9906-46F4-B7EC-87087954B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4142CE-F90E-4639-B059-D8172C91A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B1F1D-0550-45B5-B400-EF8F25F2D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0F1EF-B568-415E-A475-2259B69A6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36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3F1212-3AEA-48A3-89FF-21146D47D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C83FC7-9932-4F56-9FDB-0E5F7CDD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986E1-0C32-4524-B1C3-C9DACAA2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83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45136-3609-4D30-A414-BD90B6369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93879-9FF9-4EC0-823A-DF5831B44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DF3F6-19A9-406A-B8A1-132DE50DDF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595E-0094-4111-9E1C-F3D2FC51D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6EA3E4-A1FF-4BF1-A0E8-FE902D751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0EB47B-396A-489F-9637-27EEC5EC0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089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9F58C-B11E-48CA-B647-2F7AB74D0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5A511-1A31-4661-92C6-2D1BF7BA82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612D7-67B5-40F4-82C2-F6B5F0F6DD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C0FA37-D87E-412F-83F2-6DD2DCBB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A5069-03EA-41FB-9821-D08D59228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09BA7A-4B54-4D01-AF52-6EDFEF0AC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91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8CA0BF-C9FF-431F-983D-4EE668A95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AF8478-70F5-4667-B47A-DF77B6249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E28A12-FF91-4BAD-B5CE-DA8355A319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A401D-5055-4814-A1ED-3DA3CC804920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F12ACA-943B-45BB-879A-1F65D59B0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98624-F3D1-4F67-B909-F353E5622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29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US" dirty="0"/>
              <a:t>Microservice Orchestration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257312" y="900165"/>
            <a:ext cx="11157277" cy="53755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base"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What is the framework for</a:t>
            </a:r>
            <a:endParaRPr lang="en-US" sz="2133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Define and run your business processes as orchestration of microservices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Monitor and control runtime execution of processes, and microservic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Benefits</a:t>
            </a:r>
            <a:endParaRPr lang="en-US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omposable business process  with orchestration of loose-coupled microservices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tandardized and highly modular architectur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Flexible to change -&gt; Fastest time-to-market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Process steps implemented microservices -&gt; any language, framework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Reuse existing skills, leverage existing cod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Drive automatic standardization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loud-native architecture with Kubernetes -&gt; high scalability, failover, resilience, extensibility, vendor-neutrality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upport for process steps with human activities -&gt; in-built human task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Out-of-the-box analytics on process and human task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processes steps; adjust quickly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human activiti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0001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IN" dirty="0"/>
              <a:t>I</a:t>
            </a:r>
            <a:r>
              <a:rPr lang="en-US" dirty="0"/>
              <a:t>s it another BPM/ Workflow Engine? How is it different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194139" y="928484"/>
            <a:ext cx="11489932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rgbClr val="7030A0"/>
                </a:solidFill>
              </a:rPr>
              <a:t>It is an opinionated BPM / workflow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Based on our experience we came to believe traditional BPM engine delivers less value in following areas, especially for real enterprise-level use cases. Therefore we omitted those, and focused on keeping it more pragmatic.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b="1" dirty="0">
                <a:solidFill>
                  <a:srgbClr val="FF0000"/>
                </a:solidFill>
              </a:rPr>
              <a:t>Each of the above in turn translate to higher TCO -  licenses, usage model, development and maintenance, skill availability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794DE-AB3E-4FAC-A16C-2712F97C497D}"/>
              </a:ext>
            </a:extLst>
          </p:cNvPr>
          <p:cNvSpPr/>
          <p:nvPr/>
        </p:nvSpPr>
        <p:spPr>
          <a:xfrm>
            <a:off x="408932" y="3988794"/>
            <a:ext cx="11399820" cy="260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lang="en-IN" sz="1800" dirty="0">
                <a:solidFill>
                  <a:schemeClr val="tx1"/>
                </a:solidFill>
              </a:rPr>
              <a:t>You do NOT need this framework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Looking only at use cases which are no/low cod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Your business users are confident to take on them without IT interventions. After all, that is what no code means.</a:t>
            </a:r>
          </a:p>
          <a:p>
            <a:endParaRPr lang="en-IN" dirty="0">
              <a:solidFill>
                <a:schemeClr val="tx1"/>
              </a:solidFill>
            </a:endParaRPr>
          </a:p>
          <a:p>
            <a:r>
              <a:rPr lang="en-IN" sz="1800" dirty="0">
                <a:solidFill>
                  <a:schemeClr val="tx1"/>
                </a:solidFill>
              </a:rPr>
              <a:t>On the other hand, this engine shall deliver high value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Use cases need custom codes – be it for UI, or process logic, or integration, or most possibly for all of these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follow open, vendor-neutral, scalable and highly modular architectur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avoid high license fees, vendor lock-in . Yes, even considering BPMN 2.0.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Have in house developers who can write code for domain logic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If you are already on Kubernet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200908-AC27-4A76-B534-1D90608DC937}"/>
              </a:ext>
            </a:extLst>
          </p:cNvPr>
          <p:cNvSpPr/>
          <p:nvPr/>
        </p:nvSpPr>
        <p:spPr>
          <a:xfrm>
            <a:off x="353068" y="1876406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Automatic UI generated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editors with drag and drop promises to business user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rule engines, whose effect are easily achievable with another open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22036D-C894-4F25-9E08-B1C07029406E}"/>
              </a:ext>
            </a:extLst>
          </p:cNvPr>
          <p:cNvSpPr/>
          <p:nvPr/>
        </p:nvSpPr>
        <p:spPr>
          <a:xfrm>
            <a:off x="6096000" y="1822057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Complex technical adapters (licensable), Editors for complex data object mapping and transformation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Process objects embedded within engine, need to tolerate complex hydration/dehydration and associated penaltie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BPMN suppor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3218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300875"/>
            <a:ext cx="10031916" cy="644842"/>
          </a:xfrm>
        </p:spPr>
        <p:txBody>
          <a:bodyPr/>
          <a:lstStyle/>
          <a:p>
            <a:r>
              <a:rPr lang="en-US" dirty="0"/>
              <a:t>Loan Proces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972816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mpleteness</a:t>
            </a:r>
            <a:endParaRPr lang="en-US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1A1304-9AC7-469A-BA98-2ED565CB71DA}"/>
              </a:ext>
            </a:extLst>
          </p:cNvPr>
          <p:cNvSpPr/>
          <p:nvPr/>
        </p:nvSpPr>
        <p:spPr>
          <a:xfrm>
            <a:off x="50897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1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74650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931364"/>
              </p:ext>
            </p:extLst>
          </p:nvPr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45CBD2C-9AE7-4600-9DB0-8199A0D8FBFB}"/>
              </a:ext>
            </a:extLst>
          </p:cNvPr>
          <p:cNvSpPr/>
          <p:nvPr/>
        </p:nvSpPr>
        <p:spPr>
          <a:xfrm>
            <a:off x="2104052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D57BFD-9820-4779-8E8E-55D1D4B2DE4D}"/>
              </a:ext>
            </a:extLst>
          </p:cNvPr>
          <p:cNvSpPr/>
          <p:nvPr/>
        </p:nvSpPr>
        <p:spPr>
          <a:xfrm>
            <a:off x="164898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2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1805886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819333" y="1913910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E9C0472-4CFF-4F2F-A7D1-58434586CCA7}"/>
              </a:ext>
            </a:extLst>
          </p:cNvPr>
          <p:cNvSpPr/>
          <p:nvPr/>
        </p:nvSpPr>
        <p:spPr>
          <a:xfrm>
            <a:off x="2845971" y="20392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478124" y="2292365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849277" y="272724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stCxn id="41" idx="3"/>
            <a:endCxn id="44" idx="1"/>
          </p:cNvCxnSpPr>
          <p:nvPr/>
        </p:nvCxnSpPr>
        <p:spPr>
          <a:xfrm flipV="1">
            <a:off x="2932052" y="2129910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stCxn id="41" idx="3"/>
            <a:endCxn id="56" idx="1"/>
          </p:cNvCxnSpPr>
          <p:nvPr/>
        </p:nvCxnSpPr>
        <p:spPr>
          <a:xfrm>
            <a:off x="2932052" y="2437682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312885" y="1603361"/>
            <a:ext cx="85794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Employment Check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3CB0FA8-2695-4286-B878-0A6A005A28E9}"/>
              </a:ext>
            </a:extLst>
          </p:cNvPr>
          <p:cNvSpPr/>
          <p:nvPr/>
        </p:nvSpPr>
        <p:spPr>
          <a:xfrm>
            <a:off x="4555277" y="171842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E9B777-5437-4B07-B341-64364FAACA9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014719" y="1811009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42829" y="2159844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redit Check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819361"/>
            <a:ext cx="665552" cy="31054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129910"/>
            <a:ext cx="695496" cy="245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93623CB9-146C-40A4-9863-7F2B09ECE53A}"/>
              </a:ext>
            </a:extLst>
          </p:cNvPr>
          <p:cNvSpPr/>
          <p:nvPr/>
        </p:nvSpPr>
        <p:spPr>
          <a:xfrm>
            <a:off x="4553919" y="2271032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5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6CCFCE7-40C9-4285-9E43-C3F258C8467F}"/>
              </a:ext>
            </a:extLst>
          </p:cNvPr>
          <p:cNvSpPr/>
          <p:nvPr/>
        </p:nvSpPr>
        <p:spPr>
          <a:xfrm>
            <a:off x="6615440" y="2223295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ll Checks Done</a:t>
            </a:r>
            <a:endParaRPr lang="en-US" sz="1200" dirty="0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  <a:endCxn id="65" idx="1"/>
          </p:cNvCxnSpPr>
          <p:nvPr/>
        </p:nvCxnSpPr>
        <p:spPr>
          <a:xfrm flipV="1">
            <a:off x="4677277" y="2439295"/>
            <a:ext cx="1938163" cy="503948"/>
          </a:xfrm>
          <a:prstGeom prst="bentConnector3">
            <a:avLst>
              <a:gd name="adj1" fmla="val 87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7D9594-9F4B-4EA1-8282-E5D0AF4E0974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6170829" y="2375844"/>
            <a:ext cx="444611" cy="6345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DF577F2B-355E-490D-8BD6-FABED7938988}"/>
              </a:ext>
            </a:extLst>
          </p:cNvPr>
          <p:cNvCxnSpPr>
            <a:cxnSpLocks/>
            <a:stCxn id="58" idx="3"/>
            <a:endCxn id="65" idx="1"/>
          </p:cNvCxnSpPr>
          <p:nvPr/>
        </p:nvCxnSpPr>
        <p:spPr>
          <a:xfrm>
            <a:off x="6170829" y="1819361"/>
            <a:ext cx="444611" cy="619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F742F7C-2207-40F0-BB6D-B31BBC35F850}"/>
              </a:ext>
            </a:extLst>
          </p:cNvPr>
          <p:cNvSpPr/>
          <p:nvPr/>
        </p:nvSpPr>
        <p:spPr>
          <a:xfrm>
            <a:off x="4593305" y="310152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90311" y="220396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Result</a:t>
            </a:r>
            <a:endParaRPr lang="en-US" sz="12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413E8CD-CD18-4958-931B-EB4BAFB84050}"/>
              </a:ext>
            </a:extLst>
          </p:cNvPr>
          <p:cNvSpPr/>
          <p:nvPr/>
        </p:nvSpPr>
        <p:spPr>
          <a:xfrm>
            <a:off x="8535245" y="198009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7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967E24C-DF00-448E-B5D8-0684282136E0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8692145" y="241161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9AF929D-80B1-4A56-9A83-01D4D549BBB4}"/>
              </a:ext>
            </a:extLst>
          </p:cNvPr>
          <p:cNvSpPr/>
          <p:nvPr/>
        </p:nvSpPr>
        <p:spPr>
          <a:xfrm>
            <a:off x="9685529" y="196937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8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53DD779-A89B-485A-A6FD-37F3D9CC1464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9842429" y="2400886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AADD200-4A0E-4612-B019-88C0614B47E8}"/>
              </a:ext>
            </a:extLst>
          </p:cNvPr>
          <p:cNvSpPr/>
          <p:nvPr/>
        </p:nvSpPr>
        <p:spPr>
          <a:xfrm>
            <a:off x="10854460" y="201865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26C70A-5A9F-4B53-8497-C06DDE153981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776406" y="2221682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utomatic Decision</a:t>
            </a:r>
            <a:endParaRPr lang="en-US" sz="1200" dirty="0"/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4AD8D351-56D7-4A41-9F09-3CC873F20187}"/>
              </a:ext>
            </a:extLst>
          </p:cNvPr>
          <p:cNvCxnSpPr>
            <a:cxnSpLocks/>
            <a:stCxn id="65" idx="3"/>
            <a:endCxn id="100" idx="1"/>
          </p:cNvCxnSpPr>
          <p:nvPr/>
        </p:nvCxnSpPr>
        <p:spPr>
          <a:xfrm flipV="1">
            <a:off x="7525854" y="2437682"/>
            <a:ext cx="250552" cy="16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8F26C3A0-1CDF-4514-BFBA-22C9C1164C63}"/>
              </a:ext>
            </a:extLst>
          </p:cNvPr>
          <p:cNvSpPr/>
          <p:nvPr/>
        </p:nvSpPr>
        <p:spPr>
          <a:xfrm>
            <a:off x="5969804" y="140254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3EB16EF-21AE-453F-9A80-E46B4FE5AE39}"/>
              </a:ext>
            </a:extLst>
          </p:cNvPr>
          <p:cNvSpPr/>
          <p:nvPr/>
        </p:nvSpPr>
        <p:spPr>
          <a:xfrm>
            <a:off x="5972266" y="253282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E1B09FF-CB4B-4495-BBC3-DC28BA49B803}"/>
              </a:ext>
            </a:extLst>
          </p:cNvPr>
          <p:cNvSpPr/>
          <p:nvPr/>
        </p:nvSpPr>
        <p:spPr>
          <a:xfrm>
            <a:off x="7321340" y="200629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66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579" y="314520"/>
            <a:ext cx="10031916" cy="958849"/>
          </a:xfrm>
        </p:spPr>
        <p:txBody>
          <a:bodyPr/>
          <a:lstStyle/>
          <a:p>
            <a:r>
              <a:rPr lang="en-US" dirty="0"/>
              <a:t>…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EB5A45-7670-4ADD-9050-667608C84C80}"/>
              </a:ext>
            </a:extLst>
          </p:cNvPr>
          <p:cNvCxnSpPr/>
          <p:nvPr/>
        </p:nvCxnSpPr>
        <p:spPr>
          <a:xfrm>
            <a:off x="3945277" y="1127106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BDD634E-8DB0-428A-A7BF-7D6F73A5C07F}"/>
              </a:ext>
            </a:extLst>
          </p:cNvPr>
          <p:cNvCxnSpPr/>
          <p:nvPr/>
        </p:nvCxnSpPr>
        <p:spPr>
          <a:xfrm>
            <a:off x="8084049" y="1273369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01BC846-81FF-4155-8DAD-3DBFFF17972D}"/>
              </a:ext>
            </a:extLst>
          </p:cNvPr>
          <p:cNvSpPr/>
          <p:nvPr/>
        </p:nvSpPr>
        <p:spPr>
          <a:xfrm>
            <a:off x="380144" y="2352782"/>
            <a:ext cx="3267179" cy="191099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3F2AA7-FDF0-4BF2-A3D7-375A67022684}"/>
              </a:ext>
            </a:extLst>
          </p:cNvPr>
          <p:cNvSpPr/>
          <p:nvPr/>
        </p:nvSpPr>
        <p:spPr>
          <a:xfrm>
            <a:off x="1053959" y="1273369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ure custom-build</a:t>
            </a: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BA39C15-4C50-4269-9891-EED1E9D62073}"/>
              </a:ext>
            </a:extLst>
          </p:cNvPr>
          <p:cNvSpPr/>
          <p:nvPr/>
        </p:nvSpPr>
        <p:spPr>
          <a:xfrm>
            <a:off x="5320515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With a traditional BPM engin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5EFEB1-3DB9-4E1D-A0FA-B006F4E56472}"/>
              </a:ext>
            </a:extLst>
          </p:cNvPr>
          <p:cNvSpPr/>
          <p:nvPr/>
        </p:nvSpPr>
        <p:spPr>
          <a:xfrm>
            <a:off x="4462410" y="2544939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icense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Development co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Mainten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Skill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ock-i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068544-8951-4097-B280-1205A171ED51}"/>
              </a:ext>
            </a:extLst>
          </p:cNvPr>
          <p:cNvSpPr/>
          <p:nvPr/>
        </p:nvSpPr>
        <p:spPr>
          <a:xfrm>
            <a:off x="9221980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Our solution</a:t>
            </a:r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14E55C-BC59-43ED-A9CA-B3D57C678262}"/>
              </a:ext>
            </a:extLst>
          </p:cNvPr>
          <p:cNvSpPr/>
          <p:nvPr/>
        </p:nvSpPr>
        <p:spPr>
          <a:xfrm>
            <a:off x="8253391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F2C823-AF80-4022-B368-6F7C0CACA3CE}"/>
              </a:ext>
            </a:extLst>
          </p:cNvPr>
          <p:cNvSpPr/>
          <p:nvPr/>
        </p:nvSpPr>
        <p:spPr>
          <a:xfrm>
            <a:off x="10328770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3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18115DE-0B03-4B75-B28C-661175F0F998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9805621" y="3093375"/>
            <a:ext cx="523149" cy="1686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75AC7D3-FAC9-44ED-A36F-F72A579C0B56}"/>
              </a:ext>
            </a:extLst>
          </p:cNvPr>
          <p:cNvSpPr/>
          <p:nvPr/>
        </p:nvSpPr>
        <p:spPr>
          <a:xfrm>
            <a:off x="8983689" y="2945684"/>
            <a:ext cx="821932" cy="6327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dirty="0"/>
              <a:t>Env </a:t>
            </a:r>
            <a:r>
              <a:rPr lang="en-IN" sz="1100" dirty="0" err="1"/>
              <a:t>provisining</a:t>
            </a:r>
            <a:endParaRPr lang="en-US" sz="1100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DA69F14-A18E-47B6-AE60-7F5F457C3468}"/>
              </a:ext>
            </a:extLst>
          </p:cNvPr>
          <p:cNvSpPr/>
          <p:nvPr/>
        </p:nvSpPr>
        <p:spPr>
          <a:xfrm>
            <a:off x="11059069" y="2952034"/>
            <a:ext cx="821932" cy="339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18CD14E6-907C-44CB-A54A-F40F75BC9A06}"/>
              </a:ext>
            </a:extLst>
          </p:cNvPr>
          <p:cNvCxnSpPr>
            <a:cxnSpLocks/>
          </p:cNvCxnSpPr>
          <p:nvPr/>
        </p:nvCxnSpPr>
        <p:spPr>
          <a:xfrm>
            <a:off x="10667817" y="3118989"/>
            <a:ext cx="391252" cy="513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E264474-7D41-45D4-AF96-680A0ED00029}"/>
              </a:ext>
            </a:extLst>
          </p:cNvPr>
          <p:cNvCxnSpPr>
            <a:cxnSpLocks/>
          </p:cNvCxnSpPr>
          <p:nvPr/>
        </p:nvCxnSpPr>
        <p:spPr>
          <a:xfrm>
            <a:off x="8592438" y="3115208"/>
            <a:ext cx="391251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B14C99E-1126-431F-9F4F-375A382E301C}"/>
              </a:ext>
            </a:extLst>
          </p:cNvPr>
          <p:cNvCxnSpPr>
            <a:cxnSpLocks/>
          </p:cNvCxnSpPr>
          <p:nvPr/>
        </p:nvCxnSpPr>
        <p:spPr>
          <a:xfrm>
            <a:off x="10667817" y="3120276"/>
            <a:ext cx="391252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86EF33A-39AE-474A-8A4A-CE34FDD5EE7C}"/>
              </a:ext>
            </a:extLst>
          </p:cNvPr>
          <p:cNvSpPr/>
          <p:nvPr/>
        </p:nvSpPr>
        <p:spPr>
          <a:xfrm>
            <a:off x="8438510" y="3924938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Open technologies – choose what you can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Easy skills – use your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a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ock-i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660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7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2C32BD2C-3EFF-4CDB-B659-B2B4E7B7C3F7}">
  <ds:schemaRefs/>
</ds:datastoreItem>
</file>

<file path=customXml/itemProps10.xml><?xml version="1.0" encoding="utf-8"?>
<ds:datastoreItem xmlns:ds="http://schemas.openxmlformats.org/officeDocument/2006/customXml" ds:itemID="{E7DCFFA5-1C0A-475A-8D4B-D9408E8F38DD}">
  <ds:schemaRefs/>
</ds:datastoreItem>
</file>

<file path=customXml/itemProps2.xml><?xml version="1.0" encoding="utf-8"?>
<ds:datastoreItem xmlns:ds="http://schemas.openxmlformats.org/officeDocument/2006/customXml" ds:itemID="{CB0A619E-115B-4A5D-A2D2-ADEC52679995}">
  <ds:schemaRefs/>
</ds:datastoreItem>
</file>

<file path=customXml/itemProps3.xml><?xml version="1.0" encoding="utf-8"?>
<ds:datastoreItem xmlns:ds="http://schemas.openxmlformats.org/officeDocument/2006/customXml" ds:itemID="{644E3CC3-5418-4967-B084-476DADC75B9C}">
  <ds:schemaRefs/>
</ds:datastoreItem>
</file>

<file path=customXml/itemProps4.xml><?xml version="1.0" encoding="utf-8"?>
<ds:datastoreItem xmlns:ds="http://schemas.openxmlformats.org/officeDocument/2006/customXml" ds:itemID="{595D5F3C-8793-4B6C-9392-9FA7E76F1396}">
  <ds:schemaRefs/>
</ds:datastoreItem>
</file>

<file path=customXml/itemProps5.xml><?xml version="1.0" encoding="utf-8"?>
<ds:datastoreItem xmlns:ds="http://schemas.openxmlformats.org/officeDocument/2006/customXml" ds:itemID="{BC21E34E-8263-4266-9AD4-B98F031DFFD0}">
  <ds:schemaRefs/>
</ds:datastoreItem>
</file>

<file path=customXml/itemProps6.xml><?xml version="1.0" encoding="utf-8"?>
<ds:datastoreItem xmlns:ds="http://schemas.openxmlformats.org/officeDocument/2006/customXml" ds:itemID="{3EDC3CFB-00B6-4A76-A4F8-213B80511C87}">
  <ds:schemaRefs/>
</ds:datastoreItem>
</file>

<file path=customXml/itemProps7.xml><?xml version="1.0" encoding="utf-8"?>
<ds:datastoreItem xmlns:ds="http://schemas.openxmlformats.org/officeDocument/2006/customXml" ds:itemID="{68D1A23D-6C4C-40E7-89CF-659CCC37F1B6}">
  <ds:schemaRefs/>
</ds:datastoreItem>
</file>

<file path=customXml/itemProps8.xml><?xml version="1.0" encoding="utf-8"?>
<ds:datastoreItem xmlns:ds="http://schemas.openxmlformats.org/officeDocument/2006/customXml" ds:itemID="{15ACA71F-45FC-4468-B737-845C2FDCD2DF}">
  <ds:schemaRefs/>
</ds:datastoreItem>
</file>

<file path=customXml/itemProps9.xml><?xml version="1.0" encoding="utf-8"?>
<ds:datastoreItem xmlns:ds="http://schemas.openxmlformats.org/officeDocument/2006/customXml" ds:itemID="{7FECE985-881C-406F-816D-58AEE74D8F1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06</TotalTime>
  <Words>495</Words>
  <Application>Microsoft Office PowerPoint</Application>
  <PresentationFormat>Widescreen</PresentationFormat>
  <Paragraphs>10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Wingdings</vt:lpstr>
      <vt:lpstr>Office Theme</vt:lpstr>
      <vt:lpstr>think-cell Slide</vt:lpstr>
      <vt:lpstr>Microservice Orchestration Framework</vt:lpstr>
      <vt:lpstr>Is it another BPM/ Workflow Engine? How is it different?</vt:lpstr>
      <vt:lpstr>Loan Process</vt:lpstr>
      <vt:lpstr>…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n, Identity &amp; Access Management</dc:title>
  <dc:creator>Das, Sibendu</dc:creator>
  <cp:lastModifiedBy>Das, Sibendu</cp:lastModifiedBy>
  <cp:revision>267</cp:revision>
  <dcterms:created xsi:type="dcterms:W3CDTF">2022-02-27T09:00:01Z</dcterms:created>
  <dcterms:modified xsi:type="dcterms:W3CDTF">2022-03-07T03:08:55Z</dcterms:modified>
</cp:coreProperties>
</file>